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2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29.xml" ContentType="application/vnd.openxmlformats-officedocument.presentationml.tags+xml"/>
  <Override PartName="/ppt/notesSlides/notesSlide123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77" r:id="rId12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23.xml" Id="rId126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3.xml.rels>&#65279;<?xml version="1.0" encoding="utf-8"?><Relationships xmlns="http://schemas.openxmlformats.org/package/2006/relationships"><Relationship Type="http://schemas.openxmlformats.org/officeDocument/2006/relationships/slide" Target="/ppt/slides/slide123.xml" Id="rId2" /><Relationship Type="http://schemas.openxmlformats.org/officeDocument/2006/relationships/notesMaster" Target="/ppt/notesMasters/notesMaster1.xml" Id="rId1" /></Relationship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66654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3.xml.rels>&#65279;<?xml version="1.0" encoding="utf-8"?><Relationships xmlns="http://schemas.openxmlformats.org/package/2006/relationships"><Relationship Type="http://schemas.openxmlformats.org/officeDocument/2006/relationships/image" Target="/ppt/media/image87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86.png" Id="rId7" /><Relationship Type="http://schemas.openxmlformats.org/officeDocument/2006/relationships/image" Target="/ppt/media/image8.svg" Id="rId12" /><Relationship Type="http://schemas.openxmlformats.org/officeDocument/2006/relationships/tags" Target="/ppt/tags/tag429.xml" Id="rId2" /><Relationship Type="http://schemas.openxmlformats.org/officeDocument/2006/relationships/vmlDrawing" Target="/ppt/drawings/vmlDrawing127.vml" Id="rId1" /><Relationship Type="http://schemas.openxmlformats.org/officeDocument/2006/relationships/image" Target="/ppt/media/image4.emf" Id="rId6" /><Relationship Type="http://schemas.openxmlformats.org/officeDocument/2006/relationships/image" Target="/ppt/media/image7.png" Id="rId11" /><Relationship Type="http://schemas.openxmlformats.org/officeDocument/2006/relationships/oleObject" Target="/ppt/embeddings/oleObject127.bin" Id="rId5" /><Relationship Type="http://schemas.openxmlformats.org/officeDocument/2006/relationships/image" Target="/ppt/media/image6.svg" Id="rId10" /><Relationship Type="http://schemas.openxmlformats.org/officeDocument/2006/relationships/notesSlide" Target="/ppt/notesSlides/notesSlide123.xml" Id="rId4" /><Relationship Type="http://schemas.openxmlformats.org/officeDocument/2006/relationships/image" Target="/ppt/media/image5.png" Id="rId9" /></Relationships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374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ographic process IV</a:t>
            </a:r>
          </a:p>
        </p:txBody>
      </p:sp>
      <p:sp>
        <p:nvSpPr>
          <p:cNvPr id="2" name="Ellipse 42">
            <a:extLst>
              <a:ext uri="{FF2B5EF4-FFF2-40B4-BE49-F238E27FC236}">
                <a16:creationId xmlns:a16="http://schemas.microsoft.com/office/drawing/2014/main" id="{E3FD3503-57F7-91B3-EB52-D1BA509E9DE0}"/>
              </a:ext>
            </a:extLst>
          </p:cNvPr>
          <p:cNvSpPr>
            <a:spLocks/>
          </p:cNvSpPr>
          <p:nvPr/>
        </p:nvSpPr>
        <p:spPr bwMode="gray">
          <a:xfrm flipV="1">
            <a:off x="2176372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Ellipse 43">
            <a:extLst>
              <a:ext uri="{FF2B5EF4-FFF2-40B4-BE49-F238E27FC236}">
                <a16:creationId xmlns:a16="http://schemas.microsoft.com/office/drawing/2014/main" id="{ABD1E8F9-ED13-DC42-5051-E664E0CCEB8E}"/>
              </a:ext>
            </a:extLst>
          </p:cNvPr>
          <p:cNvSpPr>
            <a:spLocks/>
          </p:cNvSpPr>
          <p:nvPr/>
        </p:nvSpPr>
        <p:spPr bwMode="gray">
          <a:xfrm flipV="1">
            <a:off x="4789360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Ellipse 44">
            <a:extLst>
              <a:ext uri="{FF2B5EF4-FFF2-40B4-BE49-F238E27FC236}">
                <a16:creationId xmlns:a16="http://schemas.microsoft.com/office/drawing/2014/main" id="{45CCD39A-5437-C8C6-1B2F-B1233C70A731}"/>
              </a:ext>
            </a:extLst>
          </p:cNvPr>
          <p:cNvSpPr>
            <a:spLocks/>
          </p:cNvSpPr>
          <p:nvPr/>
        </p:nvSpPr>
        <p:spPr bwMode="gray">
          <a:xfrm flipV="1">
            <a:off x="7402640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Ellipse 42">
            <a:extLst>
              <a:ext uri="{FF2B5EF4-FFF2-40B4-BE49-F238E27FC236}">
                <a16:creationId xmlns:a16="http://schemas.microsoft.com/office/drawing/2014/main" id="{630F992E-6FAD-3F0C-9DF3-55779FD9A712}"/>
              </a:ext>
            </a:extLst>
          </p:cNvPr>
          <p:cNvSpPr>
            <a:spLocks/>
          </p:cNvSpPr>
          <p:nvPr/>
        </p:nvSpPr>
        <p:spPr bwMode="gray">
          <a:xfrm>
            <a:off x="2176372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Ellipse 43">
            <a:extLst>
              <a:ext uri="{FF2B5EF4-FFF2-40B4-BE49-F238E27FC236}">
                <a16:creationId xmlns:a16="http://schemas.microsoft.com/office/drawing/2014/main" id="{26FBE6B3-63BE-84D1-00DB-7ED672289410}"/>
              </a:ext>
            </a:extLst>
          </p:cNvPr>
          <p:cNvSpPr>
            <a:spLocks/>
          </p:cNvSpPr>
          <p:nvPr/>
        </p:nvSpPr>
        <p:spPr bwMode="gray">
          <a:xfrm>
            <a:off x="4789360" y="1563942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2159942 h 2251382"/>
              <a:gd name="connsiteX1" fmla="*/ 0 w 2160180"/>
              <a:gd name="connsiteY1" fmla="*/ 1079971 h 2251382"/>
              <a:gd name="connsiteX2" fmla="*/ 1080090 w 2160180"/>
              <a:gd name="connsiteY2" fmla="*/ 0 h 2251382"/>
              <a:gd name="connsiteX3" fmla="*/ 2160180 w 2160180"/>
              <a:gd name="connsiteY3" fmla="*/ 1079971 h 2251382"/>
              <a:gd name="connsiteX4" fmla="*/ 1171530 w 2160180"/>
              <a:gd name="connsiteY4" fmla="*/ 2251382 h 2251382"/>
              <a:gd name="connsiteX0" fmla="*/ 1080090 w 2160180"/>
              <a:gd name="connsiteY0" fmla="*/ 2159942 h 2159942"/>
              <a:gd name="connsiteX1" fmla="*/ 0 w 2160180"/>
              <a:gd name="connsiteY1" fmla="*/ 1079971 h 2159942"/>
              <a:gd name="connsiteX2" fmla="*/ 1080090 w 2160180"/>
              <a:gd name="connsiteY2" fmla="*/ 0 h 2159942"/>
              <a:gd name="connsiteX3" fmla="*/ 2160180 w 2160180"/>
              <a:gd name="connsiteY3" fmla="*/ 1079971 h 2159942"/>
              <a:gd name="connsiteX0" fmla="*/ 0 w 2160180"/>
              <a:gd name="connsiteY0" fmla="*/ 1079971 h 1079971"/>
              <a:gd name="connsiteX1" fmla="*/ 1080090 w 2160180"/>
              <a:gd name="connsiteY1" fmla="*/ 0 h 1079971"/>
              <a:gd name="connsiteX2" fmla="*/ 2160180 w 2160180"/>
              <a:gd name="connsiteY2" fmla="*/ 1079971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0" y="1079971"/>
                </a:moveTo>
                <a:cubicBezTo>
                  <a:pt x="0" y="483519"/>
                  <a:pt x="483573" y="0"/>
                  <a:pt x="1080090" y="0"/>
                </a:cubicBezTo>
                <a:cubicBezTo>
                  <a:pt x="1676607" y="0"/>
                  <a:pt x="2160180" y="483519"/>
                  <a:pt x="2160180" y="1079971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Ellipse 44">
            <a:extLst>
              <a:ext uri="{FF2B5EF4-FFF2-40B4-BE49-F238E27FC236}">
                <a16:creationId xmlns:a16="http://schemas.microsoft.com/office/drawing/2014/main" id="{F2AB4F52-A83F-9C0B-5AC1-71F34561391A}"/>
              </a:ext>
            </a:extLst>
          </p:cNvPr>
          <p:cNvSpPr>
            <a:spLocks/>
          </p:cNvSpPr>
          <p:nvPr/>
        </p:nvSpPr>
        <p:spPr bwMode="gray">
          <a:xfrm>
            <a:off x="7402640" y="2870291"/>
            <a:ext cx="2612988" cy="1306347"/>
          </a:xfrm>
          <a:custGeom>
            <a:avLst/>
            <a:gdLst>
              <a:gd name="connsiteX0" fmla="*/ 0 w 2160180"/>
              <a:gd name="connsiteY0" fmla="*/ 1079971 h 2159942"/>
              <a:gd name="connsiteX1" fmla="*/ 1080090 w 2160180"/>
              <a:gd name="connsiteY1" fmla="*/ 0 h 2159942"/>
              <a:gd name="connsiteX2" fmla="*/ 2160180 w 2160180"/>
              <a:gd name="connsiteY2" fmla="*/ 1079971 h 2159942"/>
              <a:gd name="connsiteX3" fmla="*/ 1080090 w 2160180"/>
              <a:gd name="connsiteY3" fmla="*/ 2159942 h 2159942"/>
              <a:gd name="connsiteX4" fmla="*/ 0 w 2160180"/>
              <a:gd name="connsiteY4" fmla="*/ 1079971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4" fmla="*/ 1171530 w 2160180"/>
              <a:gd name="connsiteY4" fmla="*/ 91440 h 2159942"/>
              <a:gd name="connsiteX0" fmla="*/ 1080090 w 2160180"/>
              <a:gd name="connsiteY0" fmla="*/ 0 h 2159942"/>
              <a:gd name="connsiteX1" fmla="*/ 2160180 w 2160180"/>
              <a:gd name="connsiteY1" fmla="*/ 1079971 h 2159942"/>
              <a:gd name="connsiteX2" fmla="*/ 1080090 w 2160180"/>
              <a:gd name="connsiteY2" fmla="*/ 2159942 h 2159942"/>
              <a:gd name="connsiteX3" fmla="*/ 0 w 2160180"/>
              <a:gd name="connsiteY3" fmla="*/ 1079971 h 2159942"/>
              <a:gd name="connsiteX0" fmla="*/ 2160180 w 2160180"/>
              <a:gd name="connsiteY0" fmla="*/ 0 h 1079971"/>
              <a:gd name="connsiteX1" fmla="*/ 1080090 w 2160180"/>
              <a:gd name="connsiteY1" fmla="*/ 1079971 h 1079971"/>
              <a:gd name="connsiteX2" fmla="*/ 0 w 2160180"/>
              <a:gd name="connsiteY2" fmla="*/ 0 h 1079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180" h="1079971">
                <a:moveTo>
                  <a:pt x="2160180" y="0"/>
                </a:moveTo>
                <a:cubicBezTo>
                  <a:pt x="2160180" y="596452"/>
                  <a:pt x="1676607" y="1079971"/>
                  <a:pt x="1080090" y="1079971"/>
                </a:cubicBezTo>
                <a:cubicBezTo>
                  <a:pt x="483573" y="1079971"/>
                  <a:pt x="0" y="596452"/>
                  <a:pt x="0" y="0"/>
                </a:cubicBez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1F5D0C3-8817-0293-6BE0-7BA580A1F21A}"/>
              </a:ext>
            </a:extLst>
          </p:cNvPr>
          <p:cNvSpPr txBox="1">
            <a:spLocks/>
          </p:cNvSpPr>
          <p:nvPr/>
        </p:nvSpPr>
        <p:spPr bwMode="gray">
          <a:xfrm>
            <a:off x="2346265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1812416-8033-0196-6D17-99BFE8DDE27E}"/>
              </a:ext>
            </a:extLst>
          </p:cNvPr>
          <p:cNvSpPr txBox="1">
            <a:spLocks/>
          </p:cNvSpPr>
          <p:nvPr/>
        </p:nvSpPr>
        <p:spPr>
          <a:xfrm>
            <a:off x="2346265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32F22C9E-C6C5-E216-7F4A-7E8114AD5831}"/>
              </a:ext>
            </a:extLst>
          </p:cNvPr>
          <p:cNvSpPr txBox="1">
            <a:spLocks/>
          </p:cNvSpPr>
          <p:nvPr/>
        </p:nvSpPr>
        <p:spPr bwMode="gray">
          <a:xfrm>
            <a:off x="4959253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F33AD52-91A7-F500-8612-CAE572D4AB99}"/>
              </a:ext>
            </a:extLst>
          </p:cNvPr>
          <p:cNvSpPr txBox="1">
            <a:spLocks/>
          </p:cNvSpPr>
          <p:nvPr/>
        </p:nvSpPr>
        <p:spPr>
          <a:xfrm>
            <a:off x="4959253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C4C2FEB0-24B7-87BC-10CC-68EA6FF16A5D}"/>
              </a:ext>
            </a:extLst>
          </p:cNvPr>
          <p:cNvSpPr txBox="1">
            <a:spLocks/>
          </p:cNvSpPr>
          <p:nvPr/>
        </p:nvSpPr>
        <p:spPr bwMode="gray">
          <a:xfrm>
            <a:off x="7572533" y="4346803"/>
            <a:ext cx="2273202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D8A1C794-6440-C6A3-E5E6-FA95B690F289}"/>
              </a:ext>
            </a:extLst>
          </p:cNvPr>
          <p:cNvSpPr txBox="1">
            <a:spLocks/>
          </p:cNvSpPr>
          <p:nvPr/>
        </p:nvSpPr>
        <p:spPr>
          <a:xfrm>
            <a:off x="7572533" y="4754017"/>
            <a:ext cx="227320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pic>
        <p:nvPicPr>
          <p:cNvPr id="23" name="Grafik 30">
            <a:extLst>
              <a:ext uri="{FF2B5EF4-FFF2-40B4-BE49-F238E27FC236}">
                <a16:creationId xmlns:a16="http://schemas.microsoft.com/office/drawing/2014/main" id="{4BBAD7B1-EF14-11C6-6FCC-E0019B989EA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51934" y="2413090"/>
            <a:ext cx="914400" cy="914400"/>
          </a:xfrm>
          <a:prstGeom prst="rect">
            <a:avLst/>
          </a:prstGeom>
        </p:spPr>
      </p:pic>
      <p:pic>
        <p:nvPicPr>
          <p:cNvPr id="24" name="Grafik 32">
            <a:extLst>
              <a:ext uri="{FF2B5EF4-FFF2-40B4-BE49-F238E27FC236}">
                <a16:creationId xmlns:a16="http://schemas.microsoft.com/office/drawing/2014/main" id="{CD4E9BE9-339A-D138-0171-3254E9694F7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38654" y="2413090"/>
            <a:ext cx="914400" cy="914400"/>
          </a:xfrm>
          <a:prstGeom prst="rect">
            <a:avLst/>
          </a:prstGeom>
        </p:spPr>
      </p:pic>
      <p:pic>
        <p:nvPicPr>
          <p:cNvPr id="25" name="Grafik 34">
            <a:extLst>
              <a:ext uri="{FF2B5EF4-FFF2-40B4-BE49-F238E27FC236}">
                <a16:creationId xmlns:a16="http://schemas.microsoft.com/office/drawing/2014/main" id="{5D6BE8E0-2E8F-54AE-F95A-5B2DAE7F4E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25666" y="2413090"/>
            <a:ext cx="914400" cy="914400"/>
          </a:xfrm>
          <a:prstGeom prst="rect">
            <a:avLst/>
          </a:prstGeom>
        </p:spPr>
      </p:pic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2D8B7B8-326A-551D-E27A-EF6738FF2C2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7772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fographics, processes, plan, plans, icon, icons, stage, stages, phase, phases, step, steps</a:t>
            </a:r>
          </a:p>
        </p:txBody>
      </p:sp>
    </p:spTree>
    <p:extLst>
      <p:ext uri="{BB962C8B-B14F-4D97-AF65-F5344CB8AC3E}">
        <p14:creationId xmlns:p14="http://schemas.microsoft.com/office/powerpoint/2010/main" val="6344730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